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0"/>
  </p:notesMasterIdLst>
  <p:handoutMasterIdLst>
    <p:handoutMasterId r:id="rId11"/>
  </p:handoutMasterIdLst>
  <p:sldIdLst>
    <p:sldId id="749" r:id="rId3"/>
    <p:sldId id="750" r:id="rId4"/>
    <p:sldId id="751" r:id="rId5"/>
    <p:sldId id="754" r:id="rId6"/>
    <p:sldId id="756" r:id="rId7"/>
    <p:sldId id="758" r:id="rId8"/>
    <p:sldId id="757" r:id="rId9"/>
  </p:sldIdLst>
  <p:sldSz cx="12192000" cy="6858000"/>
  <p:notesSz cx="6980238" cy="11887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6"/>
            <p14:sldId id="758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360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190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– Moody’s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Overall word cloud for Pros and Cons</a:t>
            </a:r>
          </a:p>
          <a:p>
            <a:r>
              <a:rPr lang="en-US" dirty="0"/>
              <a:t>What people liked (based on 5 star ratings)</a:t>
            </a:r>
          </a:p>
          <a:p>
            <a:r>
              <a:rPr lang="en-US" dirty="0"/>
              <a:t>What people liked (based on 4 star ratings)</a:t>
            </a:r>
          </a:p>
          <a:p>
            <a:r>
              <a:rPr lang="en-US"/>
              <a:t>What people liked (based on 3 star rating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more than to 98% of reviews.</a:t>
            </a:r>
          </a:p>
          <a:p>
            <a:r>
              <a:rPr lang="en-US" sz="1800" dirty="0" smtClean="0"/>
              <a:t>Total 780 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igh turno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0033" y="966490"/>
            <a:ext cx="3659167" cy="32339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114" y="1063636"/>
            <a:ext cx="3367365" cy="303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66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5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sal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dex busines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735" y="1168435"/>
            <a:ext cx="6470519" cy="4724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2" y="1320978"/>
            <a:ext cx="6050869" cy="4475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555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ice / smar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2" y="1341120"/>
            <a:ext cx="4552276" cy="4283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325</TotalTime>
  <Words>241</Words>
  <Application>Microsoft Office PowerPoint</Application>
  <PresentationFormat>Widescreen</PresentationFormat>
  <Paragraphs>8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– Moody’s</vt:lpstr>
      <vt:lpstr>Agenda</vt:lpstr>
      <vt:lpstr>Executive Summary</vt:lpstr>
      <vt:lpstr>Overall Word Cloud for Pros and Cons</vt:lpstr>
      <vt:lpstr>What people liked (based on 5 star ratings) 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41</cp:revision>
  <cp:lastPrinted>2018-10-09T20:26:37Z</cp:lastPrinted>
  <dcterms:created xsi:type="dcterms:W3CDTF">2018-06-06T19:57:16Z</dcterms:created>
  <dcterms:modified xsi:type="dcterms:W3CDTF">2019-11-14T06:4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